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pos="93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1B1B"/>
    <a:srgbClr val="0D1117"/>
    <a:srgbClr val="145820"/>
    <a:srgbClr val="88AE8C"/>
    <a:srgbClr val="303030"/>
    <a:srgbClr val="232E3D"/>
    <a:srgbClr val="595959"/>
    <a:srgbClr val="89A58E"/>
    <a:srgbClr val="416B48"/>
    <a:srgbClr val="39D3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>
        <p:scale>
          <a:sx n="78" d="100"/>
          <a:sy n="78" d="100"/>
        </p:scale>
        <p:origin x="480" y="235"/>
      </p:cViewPr>
      <p:guideLst>
        <p:guide orient="horz" pos="210"/>
        <p:guide pos="93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93CF6-E6E0-D983-1AD5-9086053C9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782801-6BDA-8BB9-6385-78510AFB4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F307C-221C-B4D5-2D34-77636F139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A93609-4D6C-7229-788B-62895CE5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78FDBC-17D5-9B23-BAE7-C3983EE5B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0520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6CD64E-0A87-4465-B17A-9841D8EA3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6374F7-04CA-E2DD-D8E2-0ED3082BDF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3B16A1-AE11-E2CB-F600-92E43D5B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7404CD-7354-D09D-221E-7555A1B09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E6D6E0-2BC5-79CD-6D89-7581AC043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5467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0FAF51-3FA6-8018-5DE3-7E24557D62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55C621-3535-F362-5567-9E6CC04E28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26AFC6-8303-5361-127E-FA0C1EDFB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FDA64-3777-0CFF-1EF8-3182EDB39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6D8D3-52DE-5EF6-C5AC-54A41F90F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341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6C902-E056-2F29-339B-318ACD4B3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0D487-4B6E-09C8-4097-80313126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F219E6-1C76-E076-CEF7-56300765C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CB680-BAC9-5EA8-BF70-34BBEF0D1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5A23E-B3C4-CE8D-D358-5A6AABE72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0131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417D9-AF82-227D-81B8-0F46AEE8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3E8826-0F20-4BA5-656E-A1B2CC87EC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C419E-03A1-5116-EC4A-7B649C149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07273E-6E53-D245-CE1A-95B27F211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012AB4-0158-0B0B-6F5F-11445CDAB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1612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884F0-0FB7-0F3F-3CFD-4CB40A94C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5D9D19-3A59-82D6-44C1-74B801DF61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82705C-5ABC-201B-B21A-80D6C1855E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1BD733-1AEE-4CDC-608F-B92ECE048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E341B9-A97C-8992-C9DB-5873E7A01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6C7B6B-3F9E-D007-EC11-CDD426C05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706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8A9EA-702F-DB2C-91CB-92EA1051F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7DAFB5-DEEC-D2DC-4678-8351127FE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EE6D32-640D-3674-56A5-F3C6522A87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BB3C09-3D9E-8DD3-A166-167DEAA7A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4D8DC8-2A41-5235-412E-4B9C4E0CF4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1A1E29-7F28-CC97-CB8C-4EAC40E70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E94C81-AE6A-FB20-2610-CAE7BFFFB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D576A29-33F1-21EA-C480-CC5519D0C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6623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B96FE-8B34-4EA8-EE31-D41592EE7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45EFF7-EE15-F9A6-E6E9-FC8EC09D5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D49507-B022-EE5A-2812-65D55C60F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BD21DD-355C-3D26-3908-F35923CE4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284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9A8C0D-8976-7E78-0182-B67B4D6FC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691050-D34D-55B3-FDBE-66364CAA8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764163-9200-7125-E7DC-A51820A79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9475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935EC-39F8-A3D1-2B0A-45E8CB9F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856A9-7546-36F6-EE19-5A821B4D2F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D8E1BD-81EB-3DD6-77AE-D264A2634C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3D6247-DDFC-376A-28F2-9B3849311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FAF9B2-C07F-3B06-87C2-0D86328D9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E3FAB9-D069-C03E-D5BD-A18C438593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39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2570-586A-046D-497C-E794FF652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28801AD-E085-6972-9B73-5D84794349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432F8D-5A34-3D94-E67E-371D52F042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BBA80A-3C7F-3DF3-E35B-35D2E956B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1E477A-EDAC-142E-2133-07376B200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8BA86A-64F1-FDCC-7657-37E6E3EA6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445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058219-C571-6BFC-DF01-F2F7457DB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76312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EDA0F-A536-643D-DD45-22A898356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DE8D30-BB90-D19E-316C-4AD03A784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2CCD4E-8A07-7C97-3D89-8C109CC486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65EC3-7709-4B20-AC3B-422475EFA339}" type="datetimeFigureOut">
              <a:rPr lang="de-DE" smtClean="0"/>
              <a:t>08.12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BA1F2-59E5-C031-6075-5D4EDC800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2465E-BB74-9FBB-55A5-590EEFE60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6DD269-236C-4741-B001-71B0CAEBC00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58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20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060BC30-9934-E26D-219C-A8C70AB641EA}"/>
              </a:ext>
            </a:extLst>
          </p:cNvPr>
          <p:cNvSpPr/>
          <p:nvPr/>
        </p:nvSpPr>
        <p:spPr>
          <a:xfrm>
            <a:off x="-358515" y="-91440"/>
            <a:ext cx="12773493" cy="7040880"/>
          </a:xfrm>
          <a:prstGeom prst="rect">
            <a:avLst/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0D11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28786DC-878D-3084-1F47-BBE050BDA098}"/>
              </a:ext>
            </a:extLst>
          </p:cNvPr>
          <p:cNvSpPr/>
          <p:nvPr/>
        </p:nvSpPr>
        <p:spPr>
          <a:xfrm>
            <a:off x="2254927" y="4200672"/>
            <a:ext cx="6965855" cy="806334"/>
          </a:xfrm>
          <a:prstGeom prst="round2SameRect">
            <a:avLst>
              <a:gd name="adj1" fmla="val 0"/>
              <a:gd name="adj2" fmla="val 5357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rgbClr val="0D1117"/>
              </a:solidFill>
              <a:latin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7755C065-430E-3D1E-7E7F-78F0A92057F4}"/>
              </a:ext>
            </a:extLst>
          </p:cNvPr>
          <p:cNvGrpSpPr/>
          <p:nvPr/>
        </p:nvGrpSpPr>
        <p:grpSpPr>
          <a:xfrm>
            <a:off x="8695113" y="1359359"/>
            <a:ext cx="661476" cy="661476"/>
            <a:chOff x="8695113" y="1359359"/>
            <a:chExt cx="661476" cy="66147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097FF17-195B-8CE3-BCDD-0783FB2E4A53}"/>
                </a:ext>
              </a:extLst>
            </p:cNvPr>
            <p:cNvSpPr/>
            <p:nvPr/>
          </p:nvSpPr>
          <p:spPr>
            <a:xfrm>
              <a:off x="8695113" y="1359359"/>
              <a:ext cx="661476" cy="661476"/>
            </a:xfrm>
            <a:prstGeom prst="ellipse">
              <a:avLst/>
            </a:prstGeom>
            <a:solidFill>
              <a:srgbClr val="1458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3794543F-26B7-6B46-3A08-0CAE99E93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830920" y="1502780"/>
              <a:ext cx="389862" cy="374634"/>
            </a:xfrm>
            <a:prstGeom prst="rect">
              <a:avLst/>
            </a:prstGeom>
          </p:spPr>
        </p:pic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C54D68E0-B928-E5F1-88DE-21EA7CB28233}"/>
              </a:ext>
            </a:extLst>
          </p:cNvPr>
          <p:cNvSpPr/>
          <p:nvPr/>
        </p:nvSpPr>
        <p:spPr>
          <a:xfrm>
            <a:off x="6371262" y="4200672"/>
            <a:ext cx="1221029" cy="80633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73A8D6FF-9A4D-0909-5D97-03FE504E8EF5}"/>
              </a:ext>
            </a:extLst>
          </p:cNvPr>
          <p:cNvSpPr/>
          <p:nvPr/>
        </p:nvSpPr>
        <p:spPr>
          <a:xfrm>
            <a:off x="6966065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did this today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202A0B22-1DF3-A1B6-44BB-8BE25CEF64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93178" y="4416522"/>
            <a:ext cx="374634" cy="374634"/>
          </a:xfrm>
          <a:prstGeom prst="rect">
            <a:avLst/>
          </a:prstGeom>
        </p:spPr>
      </p:pic>
      <p:sp>
        <p:nvSpPr>
          <p:cNvPr id="70" name="Rectangle: Diagonal Corners Rounded 69">
            <a:extLst>
              <a:ext uri="{FF2B5EF4-FFF2-40B4-BE49-F238E27FC236}">
                <a16:creationId xmlns:a16="http://schemas.microsoft.com/office/drawing/2014/main" id="{00118CCA-DCFF-E0C3-7433-1DD3AE002A7C}"/>
              </a:ext>
            </a:extLst>
          </p:cNvPr>
          <p:cNvSpPr/>
          <p:nvPr/>
        </p:nvSpPr>
        <p:spPr>
          <a:xfrm>
            <a:off x="4344247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half-assed this today</a:t>
            </a:r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C5A10A78-FAB2-E513-C5ED-0C413145BC01}"/>
              </a:ext>
            </a:extLst>
          </p:cNvPr>
          <p:cNvSpPr/>
          <p:nvPr/>
        </p:nvSpPr>
        <p:spPr>
          <a:xfrm rot="16200000">
            <a:off x="2531272" y="4217091"/>
            <a:ext cx="672737" cy="773496"/>
          </a:xfrm>
          <a:prstGeom prst="round2SameRect">
            <a:avLst>
              <a:gd name="adj1" fmla="val 15048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rtlCol="0" anchor="ctr"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Lato" panose="020F0502020204030203" pitchFamily="34" charset="0"/>
              </a:rPr>
              <a:t>Streak</a:t>
            </a:r>
          </a:p>
        </p:txBody>
      </p:sp>
      <p:sp>
        <p:nvSpPr>
          <p:cNvPr id="76" name="Rectangle: Top Corners Rounded 75">
            <a:extLst>
              <a:ext uri="{FF2B5EF4-FFF2-40B4-BE49-F238E27FC236}">
                <a16:creationId xmlns:a16="http://schemas.microsoft.com/office/drawing/2014/main" id="{2D7668EF-519D-8994-7C5E-934A1A227C8B}"/>
              </a:ext>
            </a:extLst>
          </p:cNvPr>
          <p:cNvSpPr/>
          <p:nvPr/>
        </p:nvSpPr>
        <p:spPr>
          <a:xfrm rot="5400000" flipH="1">
            <a:off x="3419669" y="4102190"/>
            <a:ext cx="672737" cy="1003297"/>
          </a:xfrm>
          <a:prstGeom prst="round2SameRect">
            <a:avLst>
              <a:gd name="adj1" fmla="val 150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rgbClr val="145820"/>
                </a:solidFill>
                <a:latin typeface="Lato" panose="020F0502020204030203" pitchFamily="34" charset="0"/>
              </a:rPr>
              <a:t>1000</a:t>
            </a:r>
          </a:p>
          <a:p>
            <a:pPr algn="ctr"/>
            <a:r>
              <a:rPr lang="de-DE" sz="1050" dirty="0">
                <a:solidFill>
                  <a:srgbClr val="145820"/>
                </a:solidFill>
                <a:latin typeface="Lato" panose="020F0502020204030203" pitchFamily="34" charset="0"/>
              </a:rPr>
              <a:t>days</a:t>
            </a: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76EC9AC4-1AFA-B7F5-FA90-2FD4085DFCC8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8AEFED0A-050D-CDD0-0E55-0AFEA77C3E85}"/>
              </a:ext>
            </a:extLst>
          </p:cNvPr>
          <p:cNvGrpSpPr/>
          <p:nvPr/>
        </p:nvGrpSpPr>
        <p:grpSpPr>
          <a:xfrm>
            <a:off x="2944647" y="2425717"/>
            <a:ext cx="5378812" cy="1069055"/>
            <a:chOff x="3231998" y="2223350"/>
            <a:chExt cx="5378812" cy="1069055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099E252-D249-804B-C407-59E4177C3EF2}"/>
                </a:ext>
              </a:extLst>
            </p:cNvPr>
            <p:cNvGrpSpPr/>
            <p:nvPr/>
          </p:nvGrpSpPr>
          <p:grpSpPr>
            <a:xfrm>
              <a:off x="3231998" y="2695718"/>
              <a:ext cx="5378812" cy="596687"/>
              <a:chOff x="3282676" y="2695718"/>
              <a:chExt cx="5378812" cy="596687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77A38957-F670-F3BE-D500-A31B3FA0892C}"/>
                  </a:ext>
                </a:extLst>
              </p:cNvPr>
              <p:cNvSpPr/>
              <p:nvPr/>
            </p:nvSpPr>
            <p:spPr>
              <a:xfrm>
                <a:off x="3282676" y="2695718"/>
                <a:ext cx="597517" cy="596684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AFE3CCFE-A525-DCA7-4639-1A45A10B979C}"/>
                  </a:ext>
                </a:extLst>
              </p:cNvPr>
              <p:cNvSpPr/>
              <p:nvPr/>
            </p:nvSpPr>
            <p:spPr>
              <a:xfrm>
                <a:off x="4079558" y="2695718"/>
                <a:ext cx="597517" cy="596684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FDD9013E-9A28-6F52-ECF8-7E18D9CA6735}"/>
                  </a:ext>
                </a:extLst>
              </p:cNvPr>
              <p:cNvGrpSpPr/>
              <p:nvPr/>
            </p:nvGrpSpPr>
            <p:grpSpPr>
              <a:xfrm>
                <a:off x="4876443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4" name="Oval 93">
                  <a:extLst>
                    <a:ext uri="{FF2B5EF4-FFF2-40B4-BE49-F238E27FC236}">
                      <a16:creationId xmlns:a16="http://schemas.microsoft.com/office/drawing/2014/main" id="{FB2D44C6-A860-1BD3-B617-2B6D75609741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02B0F2C5-D4DD-FF1F-F522-E914B3D46D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BA876CFF-CE68-2FC8-8C92-4279D99CCEDB}"/>
                  </a:ext>
                </a:extLst>
              </p:cNvPr>
              <p:cNvGrpSpPr/>
              <p:nvPr/>
            </p:nvGrpSpPr>
            <p:grpSpPr>
              <a:xfrm>
                <a:off x="5673325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A74FF4AC-2C07-325E-C3B0-E7BE3B05CC93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89A58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F83B2BBE-D464-171C-9B23-61E3275DBD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6E4A1428-566C-0C13-8D5A-7C78627DC02E}"/>
                  </a:ext>
                </a:extLst>
              </p:cNvPr>
              <p:cNvGrpSpPr/>
              <p:nvPr/>
            </p:nvGrpSpPr>
            <p:grpSpPr>
              <a:xfrm>
                <a:off x="6470207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4BD22F65-55C3-B03A-1C7A-B7151BAE8812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89A58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91" name="Graphic 90">
                  <a:extLst>
                    <a:ext uri="{FF2B5EF4-FFF2-40B4-BE49-F238E27FC236}">
                      <a16:creationId xmlns:a16="http://schemas.microsoft.com/office/drawing/2014/main" id="{6B901BEB-3E94-CAA8-1FF8-E7D65F4505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FAE4F3EA-F61F-66C9-C693-09806370B92D}"/>
                  </a:ext>
                </a:extLst>
              </p:cNvPr>
              <p:cNvGrpSpPr/>
              <p:nvPr/>
            </p:nvGrpSpPr>
            <p:grpSpPr>
              <a:xfrm>
                <a:off x="7267089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55871CBD-FE43-7F6D-C9CF-E33F546A869D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 dirty="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89" name="Graphic 88">
                  <a:extLst>
                    <a:ext uri="{FF2B5EF4-FFF2-40B4-BE49-F238E27FC236}">
                      <a16:creationId xmlns:a16="http://schemas.microsoft.com/office/drawing/2014/main" id="{EB1F31B8-E772-6CEA-A4A6-A035312953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1235ADBE-FA07-3F3F-9294-8BB51E33EF55}"/>
                  </a:ext>
                </a:extLst>
              </p:cNvPr>
              <p:cNvGrpSpPr/>
              <p:nvPr/>
            </p:nvGrpSpPr>
            <p:grpSpPr>
              <a:xfrm>
                <a:off x="8063971" y="2695721"/>
                <a:ext cx="597517" cy="596684"/>
                <a:chOff x="3448272" y="2883066"/>
                <a:chExt cx="478951" cy="478283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FDB479E1-E365-08CA-B108-ECF49E25AE2A}"/>
                    </a:ext>
                  </a:extLst>
                </p:cNvPr>
                <p:cNvSpPr/>
                <p:nvPr/>
              </p:nvSpPr>
              <p:spPr>
                <a:xfrm>
                  <a:off x="3448272" y="2883066"/>
                  <a:ext cx="478951" cy="478283"/>
                </a:xfrm>
                <a:prstGeom prst="ellipse">
                  <a:avLst/>
                </a:prstGeom>
                <a:solidFill>
                  <a:srgbClr val="14582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468000" rtlCol="0" anchor="ctr"/>
                <a:lstStyle/>
                <a:p>
                  <a:pPr algn="ctr"/>
                  <a:endParaRPr lang="de-DE" sz="1400">
                    <a:latin typeface="Lato" panose="020F0502020204030203" pitchFamily="34" charset="0"/>
                  </a:endParaRP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8B9864DB-5C0C-4256-009C-DB13E4BDE4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50055" y="3016291"/>
                  <a:ext cx="275385" cy="211834"/>
                </a:xfrm>
                <a:prstGeom prst="rect">
                  <a:avLst/>
                </a:prstGeom>
              </p:spPr>
            </p:pic>
          </p:grp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DBD8C0F-9DB9-E73F-69C7-D9B78CF05B95}"/>
                </a:ext>
              </a:extLst>
            </p:cNvPr>
            <p:cNvSpPr/>
            <p:nvPr/>
          </p:nvSpPr>
          <p:spPr>
            <a:xfrm>
              <a:off x="3231998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u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4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8BB233F2-7D11-6D71-5F8E-DAE0F2607A67}"/>
                </a:ext>
              </a:extLst>
            </p:cNvPr>
            <p:cNvSpPr/>
            <p:nvPr/>
          </p:nvSpPr>
          <p:spPr>
            <a:xfrm>
              <a:off x="4028880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Mon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B88ADD2-7E38-101B-7201-8622244014CA}"/>
                </a:ext>
              </a:extLst>
            </p:cNvPr>
            <p:cNvSpPr/>
            <p:nvPr/>
          </p:nvSpPr>
          <p:spPr>
            <a:xfrm>
              <a:off x="4825765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ue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6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CFCAC636-7A9E-C8E3-7544-F75A3E2984B5}"/>
                </a:ext>
              </a:extLst>
            </p:cNvPr>
            <p:cNvSpPr/>
            <p:nvPr/>
          </p:nvSpPr>
          <p:spPr>
            <a:xfrm>
              <a:off x="5622647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Wed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7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4B3DD5B-3F82-08BC-04A0-35EC7A63DAFC}"/>
                </a:ext>
              </a:extLst>
            </p:cNvPr>
            <p:cNvSpPr/>
            <p:nvPr/>
          </p:nvSpPr>
          <p:spPr>
            <a:xfrm>
              <a:off x="6419529" y="2223350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Thu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8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86676961-AAA2-AE47-6DFD-8891BF93BAD0}"/>
                </a:ext>
              </a:extLst>
            </p:cNvPr>
            <p:cNvSpPr/>
            <p:nvPr/>
          </p:nvSpPr>
          <p:spPr>
            <a:xfrm>
              <a:off x="7216411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Fri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9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5FC511F-15C1-B3C8-D173-B3183E84B813}"/>
                </a:ext>
              </a:extLst>
            </p:cNvPr>
            <p:cNvSpPr/>
            <p:nvPr/>
          </p:nvSpPr>
          <p:spPr>
            <a:xfrm>
              <a:off x="8013293" y="2223353"/>
              <a:ext cx="597517" cy="369332"/>
            </a:xfrm>
            <a:prstGeom prst="rect">
              <a:avLst/>
            </a:prstGeom>
            <a:solidFill>
              <a:srgbClr val="0D11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300"/>
                </a:spcBef>
              </a:pPr>
              <a:r>
                <a:rPr lang="de-DE" sz="1050" dirty="0">
                  <a:latin typeface="Lato" panose="020F0502020204030203" pitchFamily="34" charset="0"/>
                </a:rPr>
                <a:t>Sat</a:t>
              </a:r>
            </a:p>
            <a:p>
              <a:pPr algn="ctr">
                <a:spcBef>
                  <a:spcPts val="300"/>
                </a:spcBef>
              </a:pPr>
              <a:r>
                <a:rPr lang="de-DE" sz="800" dirty="0">
                  <a:latin typeface="Lato" panose="020F0502020204030203" pitchFamily="34" charset="0"/>
                </a:rPr>
                <a:t>10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CD5145-4E66-1404-5F99-8258D9304087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D784211-A2BF-6AA1-BB68-253DECF5C0E9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EDADD81C-9C84-DD45-D9E5-07FBBE0309A9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5C3516B-B4DA-D791-EBDC-688C2F7EFA7F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1" name="Oval 120">
            <a:extLst>
              <a:ext uri="{FF2B5EF4-FFF2-40B4-BE49-F238E27FC236}">
                <a16:creationId xmlns:a16="http://schemas.microsoft.com/office/drawing/2014/main" id="{8C8736BE-362E-86A0-7871-1A0F37EE096F}"/>
              </a:ext>
            </a:extLst>
          </p:cNvPr>
          <p:cNvSpPr/>
          <p:nvPr/>
        </p:nvSpPr>
        <p:spPr>
          <a:xfrm>
            <a:off x="8804349" y="2403332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241A9CA4-01AB-1B2F-754A-4AFB7B501628}"/>
              </a:ext>
            </a:extLst>
          </p:cNvPr>
          <p:cNvSpPr/>
          <p:nvPr/>
        </p:nvSpPr>
        <p:spPr>
          <a:xfrm>
            <a:off x="8804349" y="3002445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54C67A1-D75F-787D-4433-0F0A9568DE79}"/>
              </a:ext>
            </a:extLst>
          </p:cNvPr>
          <p:cNvSpPr/>
          <p:nvPr/>
        </p:nvSpPr>
        <p:spPr>
          <a:xfrm>
            <a:off x="8804349" y="3601558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662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FF72E1-0827-8C53-8C4A-BCB8D7E11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01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FF72E1-0827-8C53-8C4A-BCB8D7E11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060BC30-9934-E26D-219C-A8C70AB641EA}"/>
              </a:ext>
            </a:extLst>
          </p:cNvPr>
          <p:cNvSpPr/>
          <p:nvPr/>
        </p:nvSpPr>
        <p:spPr>
          <a:xfrm>
            <a:off x="-52466" y="-91440"/>
            <a:ext cx="12375980" cy="7040880"/>
          </a:xfrm>
          <a:prstGeom prst="rect">
            <a:avLst/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62A5D0-8BA3-AC13-B213-094C44BFA1E9}"/>
              </a:ext>
            </a:extLst>
          </p:cNvPr>
          <p:cNvSpPr/>
          <p:nvPr/>
        </p:nvSpPr>
        <p:spPr>
          <a:xfrm>
            <a:off x="2254927" y="1154098"/>
            <a:ext cx="7332956" cy="3852908"/>
          </a:xfrm>
          <a:prstGeom prst="roundRect">
            <a:avLst>
              <a:gd name="adj" fmla="val 11212"/>
            </a:avLst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tlCol="0" anchor="t"/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28786DC-878D-3084-1F47-BBE050BDA098}"/>
              </a:ext>
            </a:extLst>
          </p:cNvPr>
          <p:cNvSpPr/>
          <p:nvPr/>
        </p:nvSpPr>
        <p:spPr>
          <a:xfrm>
            <a:off x="2254927" y="4200672"/>
            <a:ext cx="6738153" cy="806334"/>
          </a:xfrm>
          <a:prstGeom prst="round2SameRect">
            <a:avLst>
              <a:gd name="adj1" fmla="val 0"/>
              <a:gd name="adj2" fmla="val 5357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ADDA64-D3C1-52F2-D387-373C7E4BBA75}"/>
              </a:ext>
            </a:extLst>
          </p:cNvPr>
          <p:cNvSpPr txBox="1"/>
          <p:nvPr/>
        </p:nvSpPr>
        <p:spPr>
          <a:xfrm>
            <a:off x="2586798" y="1505431"/>
            <a:ext cx="47444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Lato" panose="020F0502020204030203" pitchFamily="34" charset="0"/>
              </a:rPr>
              <a:t>Going to bed early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00087649-3433-26CE-253D-F8E4CB53BECA}"/>
              </a:ext>
            </a:extLst>
          </p:cNvPr>
          <p:cNvSpPr/>
          <p:nvPr/>
        </p:nvSpPr>
        <p:spPr>
          <a:xfrm>
            <a:off x="8695113" y="1359359"/>
            <a:ext cx="661476" cy="661476"/>
          </a:xfrm>
          <a:prstGeom prst="blockArc">
            <a:avLst>
              <a:gd name="adj1" fmla="val 10800000"/>
              <a:gd name="adj2" fmla="val 5323603"/>
              <a:gd name="adj3" fmla="val 13779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latin typeface="Lato" panose="020F0502020204030203" pitchFamily="34" charset="0"/>
              </a:rPr>
              <a:t>75%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147762FC-09F2-FE0C-27B4-D3EB83583CEE}"/>
              </a:ext>
            </a:extLst>
          </p:cNvPr>
          <p:cNvSpPr/>
          <p:nvPr/>
        </p:nvSpPr>
        <p:spPr>
          <a:xfrm>
            <a:off x="2254927" y="1275146"/>
            <a:ext cx="133166" cy="3637556"/>
          </a:xfrm>
          <a:custGeom>
            <a:avLst/>
            <a:gdLst>
              <a:gd name="connsiteX0" fmla="*/ 133166 w 133166"/>
              <a:gd name="connsiteY0" fmla="*/ 0 h 3610811"/>
              <a:gd name="connsiteX1" fmla="*/ 133166 w 133166"/>
              <a:gd name="connsiteY1" fmla="*/ 3610811 h 3610811"/>
              <a:gd name="connsiteX2" fmla="*/ 126527 w 133166"/>
              <a:gd name="connsiteY2" fmla="*/ 3605333 h 3610811"/>
              <a:gd name="connsiteX3" fmla="*/ 0 w 133166"/>
              <a:gd name="connsiteY3" fmla="*/ 3299871 h 3610811"/>
              <a:gd name="connsiteX4" fmla="*/ 0 w 133166"/>
              <a:gd name="connsiteY4" fmla="*/ 310939 h 3610811"/>
              <a:gd name="connsiteX5" fmla="*/ 126527 w 133166"/>
              <a:gd name="connsiteY5" fmla="*/ 5478 h 3610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3166" h="3610811">
                <a:moveTo>
                  <a:pt x="133166" y="0"/>
                </a:moveTo>
                <a:lnTo>
                  <a:pt x="133166" y="3610811"/>
                </a:lnTo>
                <a:lnTo>
                  <a:pt x="126527" y="3605333"/>
                </a:lnTo>
                <a:cubicBezTo>
                  <a:pt x="48352" y="3527158"/>
                  <a:pt x="0" y="3419161"/>
                  <a:pt x="0" y="3299871"/>
                </a:cubicBezTo>
                <a:lnTo>
                  <a:pt x="0" y="310939"/>
                </a:lnTo>
                <a:cubicBezTo>
                  <a:pt x="0" y="191649"/>
                  <a:pt x="48352" y="83652"/>
                  <a:pt x="126527" y="5478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tlCol="0" anchor="t">
            <a:noAutofit/>
          </a:bodyPr>
          <a:lstStyle/>
          <a:p>
            <a:endParaRPr lang="de-DE" dirty="0">
              <a:latin typeface="Lato" panose="020F0502020204030203" pitchFamily="34" charset="0"/>
            </a:endParaRPr>
          </a:p>
        </p:txBody>
      </p:sp>
      <p:sp>
        <p:nvSpPr>
          <p:cNvPr id="35" name="Rectangle: Diagonal Corners Rounded 34">
            <a:extLst>
              <a:ext uri="{FF2B5EF4-FFF2-40B4-BE49-F238E27FC236}">
                <a16:creationId xmlns:a16="http://schemas.microsoft.com/office/drawing/2014/main" id="{7EBA4B5C-1DFA-9F5D-E0D5-36FC2DD8ABB9}"/>
              </a:ext>
            </a:extLst>
          </p:cNvPr>
          <p:cNvSpPr/>
          <p:nvPr/>
        </p:nvSpPr>
        <p:spPr>
          <a:xfrm>
            <a:off x="4342903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468000"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half-assed this to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5C04EC-DE35-B1A7-2151-F44609DFE06F}"/>
              </a:ext>
            </a:extLst>
          </p:cNvPr>
          <p:cNvSpPr/>
          <p:nvPr/>
        </p:nvSpPr>
        <p:spPr>
          <a:xfrm>
            <a:off x="6369918" y="4200672"/>
            <a:ext cx="1221029" cy="806334"/>
          </a:xfrm>
          <a:prstGeom prst="rect">
            <a:avLst/>
          </a:prstGeom>
          <a:solidFill>
            <a:srgbClr val="1458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25846559-B397-9317-A5AE-A56A398622A9}"/>
              </a:ext>
            </a:extLst>
          </p:cNvPr>
          <p:cNvSpPr/>
          <p:nvPr/>
        </p:nvSpPr>
        <p:spPr>
          <a:xfrm>
            <a:off x="6966065" y="4200672"/>
            <a:ext cx="2621818" cy="806334"/>
          </a:xfrm>
          <a:prstGeom prst="round2DiagRect">
            <a:avLst>
              <a:gd name="adj1" fmla="val 53576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Lato" panose="020F0502020204030203" pitchFamily="34" charset="0"/>
              </a:rPr>
              <a:t>I did this today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F6604DDD-4BC9-08D9-D061-DE30CC2B28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24606" y="4416522"/>
            <a:ext cx="374634" cy="374634"/>
          </a:xfrm>
          <a:prstGeom prst="rect">
            <a:avLst/>
          </a:prstGeom>
        </p:spPr>
      </p:pic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AFB33557-5A48-5D6A-58F8-8B81EB86BFB9}"/>
              </a:ext>
            </a:extLst>
          </p:cNvPr>
          <p:cNvSpPr/>
          <p:nvPr/>
        </p:nvSpPr>
        <p:spPr>
          <a:xfrm rot="16200000">
            <a:off x="2531272" y="4217091"/>
            <a:ext cx="672737" cy="773496"/>
          </a:xfrm>
          <a:prstGeom prst="round2SameRect">
            <a:avLst>
              <a:gd name="adj1" fmla="val 15048"/>
              <a:gd name="adj2" fmla="val 0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rtlCol="0" anchor="ctr"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Lato" panose="020F0502020204030203" pitchFamily="34" charset="0"/>
              </a:rPr>
              <a:t>Streak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58B46C6F-88C5-3B6D-47DB-F19D4E9AA5CB}"/>
              </a:ext>
            </a:extLst>
          </p:cNvPr>
          <p:cNvSpPr/>
          <p:nvPr/>
        </p:nvSpPr>
        <p:spPr>
          <a:xfrm rot="5400000" flipH="1">
            <a:off x="3419669" y="4102190"/>
            <a:ext cx="672737" cy="1003297"/>
          </a:xfrm>
          <a:prstGeom prst="round2SameRect">
            <a:avLst>
              <a:gd name="adj1" fmla="val 15048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de-DE" sz="2000" dirty="0">
                <a:solidFill>
                  <a:srgbClr val="595959"/>
                </a:solidFill>
                <a:latin typeface="Lato" panose="020F0502020204030203" pitchFamily="34" charset="0"/>
              </a:rPr>
              <a:t>10</a:t>
            </a:r>
          </a:p>
          <a:p>
            <a:pPr algn="ctr"/>
            <a:r>
              <a:rPr lang="de-DE" sz="1050" dirty="0">
                <a:solidFill>
                  <a:srgbClr val="595959"/>
                </a:solidFill>
                <a:latin typeface="Lato" panose="020F0502020204030203" pitchFamily="34" charset="0"/>
              </a:rPr>
              <a:t>days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D077B32-023B-0565-1BB0-5FAF4A19739F}"/>
              </a:ext>
            </a:extLst>
          </p:cNvPr>
          <p:cNvGrpSpPr/>
          <p:nvPr/>
        </p:nvGrpSpPr>
        <p:grpSpPr>
          <a:xfrm>
            <a:off x="2944647" y="2898085"/>
            <a:ext cx="5378812" cy="596687"/>
            <a:chOff x="3282676" y="2695718"/>
            <a:chExt cx="5378812" cy="596687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6058334A-4250-85E5-A59B-402549A44D15}"/>
                </a:ext>
              </a:extLst>
            </p:cNvPr>
            <p:cNvSpPr/>
            <p:nvPr/>
          </p:nvSpPr>
          <p:spPr>
            <a:xfrm>
              <a:off x="3282676" y="2695718"/>
              <a:ext cx="597517" cy="596684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C12735D7-51C9-179F-D84E-4C12FCF70715}"/>
                </a:ext>
              </a:extLst>
            </p:cNvPr>
            <p:cNvSpPr/>
            <p:nvPr/>
          </p:nvSpPr>
          <p:spPr>
            <a:xfrm>
              <a:off x="4079558" y="2695718"/>
              <a:ext cx="597517" cy="596684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468000" rtlCol="0" anchor="ctr"/>
            <a:lstStyle/>
            <a:p>
              <a:pPr algn="ctr"/>
              <a:endParaRPr lang="de-DE" sz="1400">
                <a:latin typeface="Lato" panose="020F0502020204030203" pitchFamily="34" charset="0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5D9C5AFC-294F-3FC0-0E36-BE733C21E5CB}"/>
                </a:ext>
              </a:extLst>
            </p:cNvPr>
            <p:cNvGrpSpPr/>
            <p:nvPr/>
          </p:nvGrpSpPr>
          <p:grpSpPr>
            <a:xfrm>
              <a:off x="4876443" y="2695721"/>
              <a:ext cx="597517" cy="596684"/>
              <a:chOff x="3448272" y="2883066"/>
              <a:chExt cx="478951" cy="478283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21966CCF-5F5D-3F5E-FA38-8DD7108AFF89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9" name="Graphic 98">
                <a:extLst>
                  <a:ext uri="{FF2B5EF4-FFF2-40B4-BE49-F238E27FC236}">
                    <a16:creationId xmlns:a16="http://schemas.microsoft.com/office/drawing/2014/main" id="{8FB59471-264E-5C34-69F7-0167EECD65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5A49119-E716-1B94-0EE9-0ECBEBFCFE37}"/>
                </a:ext>
              </a:extLst>
            </p:cNvPr>
            <p:cNvGrpSpPr/>
            <p:nvPr/>
          </p:nvGrpSpPr>
          <p:grpSpPr>
            <a:xfrm>
              <a:off x="5673325" y="2695721"/>
              <a:ext cx="597517" cy="596684"/>
              <a:chOff x="3448272" y="2883066"/>
              <a:chExt cx="478951" cy="478283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600F21A9-2230-1DEB-1D7F-4EC699FF96E9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89A58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977D0D45-565D-1DA6-4360-83B395FF25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3A66E897-533F-548D-B4C8-39EDAF958501}"/>
                </a:ext>
              </a:extLst>
            </p:cNvPr>
            <p:cNvGrpSpPr/>
            <p:nvPr/>
          </p:nvGrpSpPr>
          <p:grpSpPr>
            <a:xfrm>
              <a:off x="6470207" y="2695721"/>
              <a:ext cx="597517" cy="596684"/>
              <a:chOff x="3448272" y="2883066"/>
              <a:chExt cx="478951" cy="478283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0F574AA4-44C9-9563-9EC9-B2C834764B6D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89A58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70DF6C7E-C5B1-57B3-71CA-5475669D08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CC3E647E-CDE1-607E-A6A2-03AE6B1B55DD}"/>
                </a:ext>
              </a:extLst>
            </p:cNvPr>
            <p:cNvGrpSpPr/>
            <p:nvPr/>
          </p:nvGrpSpPr>
          <p:grpSpPr>
            <a:xfrm>
              <a:off x="7267089" y="2695721"/>
              <a:ext cx="597517" cy="596684"/>
              <a:chOff x="3448272" y="2883066"/>
              <a:chExt cx="478951" cy="478283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85A4453D-9CB8-AD32-BA29-FE1B1968AC54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 dirty="0">
                  <a:latin typeface="Lato" panose="020F0502020204030203" pitchFamily="34" charset="0"/>
                </a:endParaRPr>
              </a:p>
            </p:txBody>
          </p:sp>
          <p:pic>
            <p:nvPicPr>
              <p:cNvPr id="93" name="Graphic 92">
                <a:extLst>
                  <a:ext uri="{FF2B5EF4-FFF2-40B4-BE49-F238E27FC236}">
                    <a16:creationId xmlns:a16="http://schemas.microsoft.com/office/drawing/2014/main" id="{6D4F848E-F67E-0D49-9F4D-3F5DAEA8C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219CA4D-045C-D38A-21A3-FB2A43A32358}"/>
                </a:ext>
              </a:extLst>
            </p:cNvPr>
            <p:cNvGrpSpPr/>
            <p:nvPr/>
          </p:nvGrpSpPr>
          <p:grpSpPr>
            <a:xfrm>
              <a:off x="8063971" y="2695721"/>
              <a:ext cx="597517" cy="596684"/>
              <a:chOff x="3448272" y="2883066"/>
              <a:chExt cx="478951" cy="478283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B4F5F633-A941-BA25-531F-EC9DF0E1D8D8}"/>
                  </a:ext>
                </a:extLst>
              </p:cNvPr>
              <p:cNvSpPr/>
              <p:nvPr/>
            </p:nvSpPr>
            <p:spPr>
              <a:xfrm>
                <a:off x="3448272" y="2883066"/>
                <a:ext cx="478951" cy="478283"/>
              </a:xfrm>
              <a:prstGeom prst="ellipse">
                <a:avLst/>
              </a:prstGeom>
              <a:solidFill>
                <a:srgbClr val="1458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468000" rtlCol="0" anchor="ctr"/>
              <a:lstStyle/>
              <a:p>
                <a:pPr algn="ctr"/>
                <a:endParaRPr lang="de-DE" sz="1400">
                  <a:latin typeface="Lato" panose="020F0502020204030203" pitchFamily="34" charset="0"/>
                </a:endParaRPr>
              </a:p>
            </p:txBody>
          </p:sp>
          <p:pic>
            <p:nvPicPr>
              <p:cNvPr id="91" name="Graphic 90">
                <a:extLst>
                  <a:ext uri="{FF2B5EF4-FFF2-40B4-BE49-F238E27FC236}">
                    <a16:creationId xmlns:a16="http://schemas.microsoft.com/office/drawing/2014/main" id="{FF5A0A23-BE30-EAAA-8C1E-7B94AC756D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50055" y="3016291"/>
                <a:ext cx="275385" cy="211834"/>
              </a:xfrm>
              <a:prstGeom prst="rect">
                <a:avLst/>
              </a:prstGeom>
            </p:spPr>
          </p:pic>
        </p:grp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F5A17AB8-8CA3-CC71-1F5F-F79DADC3AFAA}"/>
              </a:ext>
            </a:extLst>
          </p:cNvPr>
          <p:cNvSpPr/>
          <p:nvPr/>
        </p:nvSpPr>
        <p:spPr>
          <a:xfrm>
            <a:off x="2944647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u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4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A263107-DDA2-3DCB-FA43-984974139CD5}"/>
              </a:ext>
            </a:extLst>
          </p:cNvPr>
          <p:cNvSpPr/>
          <p:nvPr/>
        </p:nvSpPr>
        <p:spPr>
          <a:xfrm>
            <a:off x="3741529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Mon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5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78909D-E1F8-227E-F176-5802F931478E}"/>
              </a:ext>
            </a:extLst>
          </p:cNvPr>
          <p:cNvSpPr/>
          <p:nvPr/>
        </p:nvSpPr>
        <p:spPr>
          <a:xfrm>
            <a:off x="4538414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ue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6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6ED150C-2F9C-0A90-E63E-48D42F0E4C01}"/>
              </a:ext>
            </a:extLst>
          </p:cNvPr>
          <p:cNvSpPr/>
          <p:nvPr/>
        </p:nvSpPr>
        <p:spPr>
          <a:xfrm>
            <a:off x="5335296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Wed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7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450A79F-5815-0A1A-1B4B-7C0EB0EF4498}"/>
              </a:ext>
            </a:extLst>
          </p:cNvPr>
          <p:cNvSpPr/>
          <p:nvPr/>
        </p:nvSpPr>
        <p:spPr>
          <a:xfrm>
            <a:off x="6132178" y="2425717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Thu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8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99F79DF-3AEF-0E7D-2C36-92FF3319ADFB}"/>
              </a:ext>
            </a:extLst>
          </p:cNvPr>
          <p:cNvSpPr/>
          <p:nvPr/>
        </p:nvSpPr>
        <p:spPr>
          <a:xfrm>
            <a:off x="6929060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Fri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49AAB4A-29BE-71B4-C0A3-3AF092BBE1A8}"/>
              </a:ext>
            </a:extLst>
          </p:cNvPr>
          <p:cNvSpPr/>
          <p:nvPr/>
        </p:nvSpPr>
        <p:spPr>
          <a:xfrm>
            <a:off x="7725942" y="2425720"/>
            <a:ext cx="597517" cy="369332"/>
          </a:xfrm>
          <a:prstGeom prst="rect">
            <a:avLst/>
          </a:prstGeom>
          <a:solidFill>
            <a:srgbClr val="1B1B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de-DE" sz="1050" dirty="0">
                <a:latin typeface="Lato" panose="020F0502020204030203" pitchFamily="34" charset="0"/>
              </a:rPr>
              <a:t>Sat</a:t>
            </a:r>
          </a:p>
          <a:p>
            <a:pPr algn="ctr">
              <a:spcBef>
                <a:spcPts val="300"/>
              </a:spcBef>
            </a:pPr>
            <a:r>
              <a:rPr lang="de-DE" sz="800" dirty="0">
                <a:latin typeface="Lato" panose="020F0502020204030203" pitchFamily="34" charset="0"/>
              </a:rPr>
              <a:t>10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F835CD5-300F-9C4A-0DBA-A506B0510303}"/>
              </a:ext>
            </a:extLst>
          </p:cNvPr>
          <p:cNvGrpSpPr/>
          <p:nvPr/>
        </p:nvGrpSpPr>
        <p:grpSpPr>
          <a:xfrm>
            <a:off x="8860755" y="2176944"/>
            <a:ext cx="330190" cy="70279"/>
            <a:chOff x="7686950" y="1440238"/>
            <a:chExt cx="479262" cy="102008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B9E51244-A3EC-7B02-DB38-AF328CFEDB52}"/>
                </a:ext>
              </a:extLst>
            </p:cNvPr>
            <p:cNvSpPr/>
            <p:nvPr/>
          </p:nvSpPr>
          <p:spPr>
            <a:xfrm>
              <a:off x="7686950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24058584-4157-EC74-8E57-8D1E13C96393}"/>
                </a:ext>
              </a:extLst>
            </p:cNvPr>
            <p:cNvSpPr/>
            <p:nvPr/>
          </p:nvSpPr>
          <p:spPr>
            <a:xfrm>
              <a:off x="7875577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AD302998-3FC7-C276-28DA-761D4D2F123B}"/>
                </a:ext>
              </a:extLst>
            </p:cNvPr>
            <p:cNvSpPr/>
            <p:nvPr/>
          </p:nvSpPr>
          <p:spPr>
            <a:xfrm>
              <a:off x="8064204" y="1440238"/>
              <a:ext cx="102008" cy="10200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4" name="Oval 103">
            <a:extLst>
              <a:ext uri="{FF2B5EF4-FFF2-40B4-BE49-F238E27FC236}">
                <a16:creationId xmlns:a16="http://schemas.microsoft.com/office/drawing/2014/main" id="{61146373-E1CB-934E-E633-490B175CC7BB}"/>
              </a:ext>
            </a:extLst>
          </p:cNvPr>
          <p:cNvSpPr/>
          <p:nvPr/>
        </p:nvSpPr>
        <p:spPr>
          <a:xfrm>
            <a:off x="8804349" y="2403332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2E985D1-6A32-CC97-ECA2-855D6E00C880}"/>
              </a:ext>
            </a:extLst>
          </p:cNvPr>
          <p:cNvSpPr/>
          <p:nvPr/>
        </p:nvSpPr>
        <p:spPr>
          <a:xfrm>
            <a:off x="8804349" y="3002445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F6C0D36B-74D8-0975-FFB5-95961676F47D}"/>
              </a:ext>
            </a:extLst>
          </p:cNvPr>
          <p:cNvSpPr/>
          <p:nvPr/>
        </p:nvSpPr>
        <p:spPr>
          <a:xfrm>
            <a:off x="8804349" y="3601558"/>
            <a:ext cx="443004" cy="44300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483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</TotalTime>
  <Words>60</Words>
  <Application>Microsoft Office PowerPoint</Application>
  <PresentationFormat>Widescreen</PresentationFormat>
  <Paragraphs>4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Lato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ecel Acuña</dc:creator>
  <cp:lastModifiedBy>Aecel Acuña</cp:lastModifiedBy>
  <cp:revision>11</cp:revision>
  <dcterms:created xsi:type="dcterms:W3CDTF">2022-12-08T12:20:13Z</dcterms:created>
  <dcterms:modified xsi:type="dcterms:W3CDTF">2022-12-08T14:49:14Z</dcterms:modified>
</cp:coreProperties>
</file>